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  <p:sldMasterId id="2147483684" r:id="rId2"/>
    <p:sldMasterId id="2147483696" r:id="rId3"/>
  </p:sldMasterIdLst>
  <p:notesMasterIdLst>
    <p:notesMasterId r:id="rId10"/>
  </p:notesMasterIdLst>
  <p:sldIdLst>
    <p:sldId id="260" r:id="rId4"/>
    <p:sldId id="257" r:id="rId5"/>
    <p:sldId id="267" r:id="rId6"/>
    <p:sldId id="263" r:id="rId7"/>
    <p:sldId id="266" r:id="rId8"/>
    <p:sldId id="268" r:id="rId9"/>
  </p:sldIdLst>
  <p:sldSz cx="12192000" cy="6858000"/>
  <p:notesSz cx="6858000" cy="9144000"/>
  <p:custDataLst>
    <p:tags r:id="rId1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71E26"/>
    <a:srgbClr val="EE1C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73" d="100"/>
          <a:sy n="73" d="100"/>
        </p:scale>
        <p:origin x="58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49F8F7-57C3-464B-BB6D-119CD9D83F21}" type="datetimeFigureOut">
              <a:rPr lang="ru-RU" smtClean="0"/>
              <a:t>11.03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A508DD-4C9A-4142-BC4A-D0CFCB17F8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2086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png"/><Relationship Id="rId4" Type="http://schemas.openxmlformats.org/officeDocument/2006/relationships/image" Target="NUL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png"/><Relationship Id="rId4" Type="http://schemas.openxmlformats.org/officeDocument/2006/relationships/image" Target="NUL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5" Type="http://schemas.openxmlformats.org/officeDocument/2006/relationships/image" Target="NULL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5" Type="http://schemas.openxmlformats.org/officeDocument/2006/relationships/image" Target="NULL"/><Relationship Id="rId4" Type="http://schemas.openxmlformats.org/officeDocument/2006/relationships/image" Target="../media/image2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NUL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2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D3A82-A35F-9C45-A832-50098C975E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3816350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 IPSUM DOLOR SIT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4F84BBB-00C0-3440-B83A-FD7821342B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A0E2698-CFB4-5348-82D6-2C8B43CC18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</p:spTree>
    <p:extLst>
      <p:ext uri="{BB962C8B-B14F-4D97-AF65-F5344CB8AC3E}">
        <p14:creationId xmlns:p14="http://schemas.microsoft.com/office/powerpoint/2010/main" val="225422540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Part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419358F5-8169-644A-8D56-1F7CE865862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FDD876CB-863A-4046-AF0D-B77DC7D5D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3051175"/>
            <a:ext cx="7632700" cy="3058680"/>
          </a:xfrm>
          <a:prstGeom prst="rect">
            <a:avLst/>
          </a:prstGeom>
        </p:spPr>
        <p:txBody>
          <a:bodyPr/>
          <a:lstStyle>
            <a:lvl1pPr>
              <a:defRPr b="1" i="0" spc="0" baseline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STYLE</a:t>
            </a: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32CB07-EAEC-5B4F-A86E-7F459C01A017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677315723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0A9A3D-6358-4156-B55C-7E8AEEA98B30}" type="datetime1">
              <a:rPr lang="en-US" smtClean="0"/>
              <a:t>3/11/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8D4B16-F960-43F9-9994-951F9ED824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0514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14EB41-B089-4AEB-813B-EB7B875DC216}" type="datetime1">
              <a:rPr lang="en-US" smtClean="0"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8848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934EA-AC11-4832-9DBB-9F53D93D04D2}" type="datetime1">
              <a:rPr lang="en-US" smtClean="0"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94657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8EB2BC-74E9-4CA7-BB9E-4CF292FA79A3}" type="datetime1">
              <a:rPr lang="en-US" smtClean="0"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53667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2AADD-3232-4A06-8AA4-E2D445A445C7}" type="datetime1">
              <a:rPr lang="en-US" smtClean="0"/>
              <a:t>3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3555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D9975D-2EF3-4519-88D7-4FE13C505C19}" type="datetime1">
              <a:rPr lang="en-US" smtClean="0"/>
              <a:t>3/11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8612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05B766-B513-414E-BFDF-06286381DE1B}" type="datetime1">
              <a:rPr lang="en-US" smtClean="0"/>
              <a:t>3/11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7263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762FC2-6DD4-42E9-BE05-F32A177753B7}" type="datetime1">
              <a:rPr lang="en-US" smtClean="0"/>
              <a:t>3/11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0401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C523E-A772-40C0-9640-4C16BF5EC4AD}" type="datetime1">
              <a:rPr lang="en-US" smtClean="0"/>
              <a:t>3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2433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5E0695E-B8B4-BB41-B1AA-0922B91ECB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D5823A5-9DC9-FC47-A61D-B973DFF43A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38B032B-5FFB-A04A-A4E6-95883F5330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4BA0D5D-4B71-E94B-AD62-BDD256CD99A1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996303862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83F126-1554-49A5-94BB-F11EA6DC3E67}" type="datetime1">
              <a:rPr lang="en-US" smtClean="0"/>
              <a:t>3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9385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95FD7-4689-4666-B975-35E7FCF4CD73}" type="datetime1">
              <a:rPr lang="en-US" smtClean="0"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0269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0FC3F-72A3-4EE2-A45E-B85FA0411A5A}" type="datetime1">
              <a:rPr lang="en-US" smtClean="0"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1822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D3A82-A35F-9C45-A832-50098C975E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3816350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 IPSUM DOLOR SIT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4F84BBB-00C0-3440-B83A-FD7821342B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A0E2698-CFB4-5348-82D6-2C8B43CC18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</p:spTree>
    <p:extLst>
      <p:ext uri="{BB962C8B-B14F-4D97-AF65-F5344CB8AC3E}">
        <p14:creationId xmlns:p14="http://schemas.microsoft.com/office/powerpoint/2010/main" val="1436304049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5E0695E-B8B4-BB41-B1AA-0922B91ECB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D5823A5-9DC9-FC47-A61D-B973DFF43A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38B032B-5FFB-A04A-A4E6-95883F5330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4BA0D5D-4B71-E94B-AD62-BDD256CD99A1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269257783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D3A82-A35F-9C45-A832-50098C975E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3671660"/>
          </a:xfrm>
          <a:prstGeom prst="rect">
            <a:avLst/>
          </a:prstGeom>
        </p:spPr>
        <p:txBody>
          <a:bodyPr anchor="b"/>
          <a:lstStyle>
            <a:lvl1pPr>
              <a:lnSpc>
                <a:spcPts val="5000"/>
              </a:lnSpc>
              <a:defRPr sz="5000" b="1" i="0" spc="0" baseline="0">
                <a:ln>
                  <a:noFill/>
                </a:ln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 IPSUM DOLOR SIT AMET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57FDAA5-7831-2B46-B38B-A80F0EE48D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C460590-BBFC-EA43-930E-F3DE8442A0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</p:spTree>
    <p:extLst>
      <p:ext uri="{BB962C8B-B14F-4D97-AF65-F5344CB8AC3E}">
        <p14:creationId xmlns:p14="http://schemas.microsoft.com/office/powerpoint/2010/main" val="3805950306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D3A82-A35F-9C45-A832-50098C975E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5"/>
            <a:ext cx="7632700" cy="4219575"/>
          </a:xfrm>
          <a:prstGeom prst="rect">
            <a:avLst/>
          </a:prstGeom>
        </p:spPr>
        <p:txBody>
          <a:bodyPr anchor="b"/>
          <a:lstStyle>
            <a:lvl1pPr>
              <a:lnSpc>
                <a:spcPts val="5000"/>
              </a:lnSpc>
              <a:defRPr sz="5000" b="1" i="0" spc="0" baseline="0">
                <a:ln>
                  <a:noFill/>
                </a:ln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 IPSUM DOLOR SIT AMET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56C3205-F04C-8444-9090-77E3017FFC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B815328-AB68-BC48-85AB-6D766634E1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8501ED-A304-3246-A8D2-A3604BEC9B9A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172683370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 p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B65CD49-A430-584B-BF5D-7539BA2AAB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462" r="16067" b="2660"/>
          <a:stretch/>
        </p:blipFill>
        <p:spPr>
          <a:xfrm>
            <a:off x="0" y="0"/>
            <a:ext cx="12190157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2ADE8B3-2EB0-5342-867A-941B7C6D3956}"/>
              </a:ext>
            </a:extLst>
          </p:cNvPr>
          <p:cNvSpPr/>
          <p:nvPr userDrawn="1"/>
        </p:nvSpPr>
        <p:spPr>
          <a:xfrm>
            <a:off x="-19050" y="4564063"/>
            <a:ext cx="12230100" cy="2312987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0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n-cs"/>
              <a:sym typeface="Helvetica Neue Medium"/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59A79C8C-5B35-984D-A8C3-21075CC8CD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02" y="613052"/>
            <a:ext cx="4644000" cy="686653"/>
          </a:xfrm>
          <a:prstGeom prst="rect">
            <a:avLst/>
          </a:prstGeom>
        </p:spPr>
      </p:pic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067B6C43-2E54-2C43-B85D-F8D4572F42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2EAF83E-89DC-9747-97CB-9B58541E8B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6EBCFB9-5B44-3849-847A-66372F120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5653D6-D01A-2349-9D17-6471B7641A86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274410770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Part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unset over a body of water&#10;&#10;Description automatically generated">
            <a:extLst>
              <a:ext uri="{FF2B5EF4-FFF2-40B4-BE49-F238E27FC236}">
                <a16:creationId xmlns:a16="http://schemas.microsoft.com/office/drawing/2014/main" id="{E2C68A59-915C-C746-A9EB-2E72F8860E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12192000" cy="687503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7A742717-004D-BA49-A7A2-3FF95BE6130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02" y="613052"/>
            <a:ext cx="4644000" cy="686653"/>
          </a:xfrm>
          <a:prstGeom prst="rect">
            <a:avLst/>
          </a:prstGeom>
        </p:spPr>
      </p:pic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BECC96E-6B06-0648-A582-7E4B6D110A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4683C7AB-77F0-8449-A5CB-E1758F73FA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937E815-4A49-844D-A2D2-2587ACEDB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2949FA-972F-5640-88C2-05D3A30BFCDB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912395901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Part p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1A277EA-494A-BB4D-B723-B2AC3DF225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417" t="15620" r="3595" b="1440"/>
          <a:stretch/>
        </p:blipFill>
        <p:spPr>
          <a:xfrm flipH="1">
            <a:off x="-19050" y="0"/>
            <a:ext cx="12230100" cy="68770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50C1DD4-A45D-904F-917C-A8DD60875C26}"/>
              </a:ext>
            </a:extLst>
          </p:cNvPr>
          <p:cNvSpPr/>
          <p:nvPr userDrawn="1"/>
        </p:nvSpPr>
        <p:spPr>
          <a:xfrm>
            <a:off x="-19050" y="4564063"/>
            <a:ext cx="12230100" cy="2312987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0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n-cs"/>
              <a:sym typeface="Helvetica Neue Medium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02" y="613052"/>
            <a:ext cx="4644000" cy="686653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E22F5FCD-102C-A54E-8B2F-36359BE396E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B41B2DA-46F1-3244-A7F7-B9B6E9B744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7D1318C6-5899-AD45-99F8-52A2B38E442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4C7D635-1956-A44F-B408-01DCEDA43F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E0CD8B7-A065-4E48-B23A-60286AA06137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605516895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D3A82-A35F-9C45-A832-50098C975E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3671660"/>
          </a:xfrm>
          <a:prstGeom prst="rect">
            <a:avLst/>
          </a:prstGeom>
        </p:spPr>
        <p:txBody>
          <a:bodyPr anchor="b"/>
          <a:lstStyle>
            <a:lvl1pPr>
              <a:lnSpc>
                <a:spcPts val="5000"/>
              </a:lnSpc>
              <a:defRPr sz="5000" b="1" i="0" spc="0" baseline="0">
                <a:ln>
                  <a:noFill/>
                </a:ln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 IPSUM DOLOR SIT AMET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57FDAA5-7831-2B46-B38B-A80F0EE48D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C460590-BBFC-EA43-930E-F3DE8442A0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</p:spTree>
    <p:extLst>
      <p:ext uri="{BB962C8B-B14F-4D97-AF65-F5344CB8AC3E}">
        <p14:creationId xmlns:p14="http://schemas.microsoft.com/office/powerpoint/2010/main" val="532580720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Part p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D1A49A2-612F-EF49-8144-382A1B7E3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69" b="4984"/>
          <a:stretch/>
        </p:blipFill>
        <p:spPr>
          <a:xfrm>
            <a:off x="-19050" y="0"/>
            <a:ext cx="12230100" cy="68770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6102943-B210-B24A-A595-1E83B10FB694}"/>
              </a:ext>
            </a:extLst>
          </p:cNvPr>
          <p:cNvSpPr/>
          <p:nvPr userDrawn="1"/>
        </p:nvSpPr>
        <p:spPr>
          <a:xfrm>
            <a:off x="-19050" y="4564063"/>
            <a:ext cx="12230100" cy="2312987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0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n-cs"/>
              <a:sym typeface="Helvetica Neue Medium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02" y="613052"/>
            <a:ext cx="4644000" cy="686653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1F40C888-BAA9-3940-BC63-297EC19C5D0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F80F6E8-3D18-7649-B659-5DA1A04481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495C536-172A-E241-8F9A-A63204AC1C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E54CCD3-4479-BD47-994D-B454BBC68F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BE2C07B-A6E2-2E4D-8910-A352543DECBF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42014544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Part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419358F5-8169-644A-8D56-1F7CE865862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FDD876CB-863A-4046-AF0D-B77DC7D5D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3051175"/>
            <a:ext cx="7632700" cy="3058680"/>
          </a:xfrm>
          <a:prstGeom prst="rect">
            <a:avLst/>
          </a:prstGeom>
        </p:spPr>
        <p:txBody>
          <a:bodyPr/>
          <a:lstStyle>
            <a:lvl1pPr>
              <a:defRPr b="1" i="0" spc="0" baseline="0">
                <a:ln>
                  <a:noFill/>
                </a:ln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STYLE</a:t>
            </a: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32CB07-EAEC-5B4F-A86E-7F459C01A017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822570670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D3A82-A35F-9C45-A832-50098C975E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5"/>
            <a:ext cx="7632700" cy="4219575"/>
          </a:xfrm>
          <a:prstGeom prst="rect">
            <a:avLst/>
          </a:prstGeom>
        </p:spPr>
        <p:txBody>
          <a:bodyPr anchor="b"/>
          <a:lstStyle>
            <a:lvl1pPr>
              <a:lnSpc>
                <a:spcPts val="5000"/>
              </a:lnSpc>
              <a:defRPr sz="5000" b="1" i="0" spc="0" baseline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 IPSUM DOLOR SIT AMET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56C3205-F04C-8444-9090-77E3017FFC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B815328-AB68-BC48-85AB-6D766634E1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8501ED-A304-3246-A8D2-A3604BEC9B9A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083146392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 p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B65CD49-A430-584B-BF5D-7539BA2AAB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462" r="16067" b="2660"/>
          <a:stretch/>
        </p:blipFill>
        <p:spPr>
          <a:xfrm>
            <a:off x="0" y="0"/>
            <a:ext cx="12190157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2ADE8B3-2EB0-5342-867A-941B7C6D3956}"/>
              </a:ext>
            </a:extLst>
          </p:cNvPr>
          <p:cNvSpPr/>
          <p:nvPr userDrawn="1"/>
        </p:nvSpPr>
        <p:spPr>
          <a:xfrm>
            <a:off x="-19050" y="4564063"/>
            <a:ext cx="12230100" cy="2312987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0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59A79C8C-5B35-984D-A8C3-21075CC8CD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02" y="613052"/>
            <a:ext cx="4644000" cy="686653"/>
          </a:xfrm>
          <a:prstGeom prst="rect">
            <a:avLst/>
          </a:prstGeom>
        </p:spPr>
      </p:pic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067B6C43-2E54-2C43-B85D-F8D4572F42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2EAF83E-89DC-9747-97CB-9B58541E8B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6EBCFB9-5B44-3849-847A-66372F120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5653D6-D01A-2349-9D17-6471B7641A86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822631553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Part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unset over a body of water&#10;&#10;Description automatically generated">
            <a:extLst>
              <a:ext uri="{FF2B5EF4-FFF2-40B4-BE49-F238E27FC236}">
                <a16:creationId xmlns:a16="http://schemas.microsoft.com/office/drawing/2014/main" id="{E2C68A59-915C-C746-A9EB-2E72F8860E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12192000" cy="687503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7A742717-004D-BA49-A7A2-3FF95BE6130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02" y="613052"/>
            <a:ext cx="4644000" cy="686653"/>
          </a:xfrm>
          <a:prstGeom prst="rect">
            <a:avLst/>
          </a:prstGeom>
        </p:spPr>
      </p:pic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BECC96E-6B06-0648-A582-7E4B6D110A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4683C7AB-77F0-8449-A5CB-E1758F73FA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937E815-4A49-844D-A2D2-2587ACEDB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2949FA-972F-5640-88C2-05D3A30BFCDB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518750335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Part p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1A277EA-494A-BB4D-B723-B2AC3DF225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417" t="15620" r="3595" b="1440"/>
          <a:stretch/>
        </p:blipFill>
        <p:spPr>
          <a:xfrm flipH="1">
            <a:off x="-19050" y="0"/>
            <a:ext cx="12230100" cy="68770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50C1DD4-A45D-904F-917C-A8DD60875C26}"/>
              </a:ext>
            </a:extLst>
          </p:cNvPr>
          <p:cNvSpPr/>
          <p:nvPr userDrawn="1"/>
        </p:nvSpPr>
        <p:spPr>
          <a:xfrm>
            <a:off x="-19050" y="4564063"/>
            <a:ext cx="12230100" cy="2312987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0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02" y="613052"/>
            <a:ext cx="4644000" cy="686653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E22F5FCD-102C-A54E-8B2F-36359BE396E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B41B2DA-46F1-3244-A7F7-B9B6E9B744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7D1318C6-5899-AD45-99F8-52A2B38E442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4C7D635-1956-A44F-B408-01DCEDA43F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E0CD8B7-A065-4E48-B23A-60286AA06137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343864130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Part p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D1A49A2-612F-EF49-8144-382A1B7E3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69" b="4984"/>
          <a:stretch/>
        </p:blipFill>
        <p:spPr>
          <a:xfrm>
            <a:off x="-19050" y="0"/>
            <a:ext cx="12230100" cy="68770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6102943-B210-B24A-A595-1E83B10FB694}"/>
              </a:ext>
            </a:extLst>
          </p:cNvPr>
          <p:cNvSpPr/>
          <p:nvPr userDrawn="1"/>
        </p:nvSpPr>
        <p:spPr>
          <a:xfrm>
            <a:off x="-19050" y="4564063"/>
            <a:ext cx="12230100" cy="2312987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0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02" y="613052"/>
            <a:ext cx="4644000" cy="686653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1F40C888-BAA9-3940-BC63-297EC19C5D0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F80F6E8-3D18-7649-B659-5DA1A04481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495C536-172A-E241-8F9A-A63204AC1C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E54CCD3-4479-BD47-994D-B454BBC68F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BE2C07B-A6E2-2E4D-8910-A352543DECBF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356930013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FDD876CB-863A-4046-AF0D-B77DC7D5D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3051175"/>
            <a:ext cx="7632700" cy="2324100"/>
          </a:xfrm>
          <a:prstGeom prst="rect">
            <a:avLst/>
          </a:prstGeom>
        </p:spPr>
        <p:txBody>
          <a:bodyPr/>
          <a:lstStyle>
            <a:lvl1pPr>
              <a:defRPr b="1" i="0" spc="0" baseline="0">
                <a:ln>
                  <a:noFill/>
                </a:ln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STYLE</a:t>
            </a:r>
            <a:endParaRPr lang="ru-RU" dirty="0"/>
          </a:p>
        </p:txBody>
      </p:sp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419358F5-8169-644A-8D56-1F7CE865862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0544E29-DE3A-AB40-BC91-53FD8B93D625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193264234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4.xml"/><Relationship Id="rId16" Type="http://schemas.openxmlformats.org/officeDocument/2006/relationships/image" Target="NUL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2.png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0" name="Слайд think-cell" r:id="rId15" imgW="353" imgH="318" progId="TCLayout.ActiveDocument.1">
                  <p:embed/>
                </p:oleObj>
              </mc:Choice>
              <mc:Fallback>
                <p:oleObj name="Слайд think-cell" r:id="rId15" imgW="353" imgH="31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phic 14">
            <a:extLst>
              <a:ext uri="{FF2B5EF4-FFF2-40B4-BE49-F238E27FC236}">
                <a16:creationId xmlns:a16="http://schemas.microsoft.com/office/drawing/2014/main" id="{3F342EA3-ECC8-6944-8742-327940920E20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4" name="Title Text"/>
          <p:cNvSpPr>
            <a:spLocks noGrp="1"/>
          </p:cNvSpPr>
          <p:nvPr>
            <p:ph type="title"/>
          </p:nvPr>
        </p:nvSpPr>
        <p:spPr>
          <a:xfrm>
            <a:off x="749300" y="764382"/>
            <a:ext cx="7632700" cy="45727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50800" tIns="50800" rIns="50800" bIns="50800" anchor="b">
            <a:noAutofit/>
          </a:bodyPr>
          <a:lstStyle/>
          <a:p>
            <a:r>
              <a:rPr lang="en-US" dirty="0"/>
              <a:t>LOREM IPSUM DOLOR SI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6B5588F-C887-704A-A845-46DD2AA76E37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721659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ransition spd="med"/>
  <p:hf hdr="0" ftr="0" dt="0"/>
  <p:txStyles>
    <p:titleStyle>
      <a:lvl1pPr marL="0" marR="0" indent="0" algn="l" defTabSz="412750" rtl="0" latinLnBrk="0">
        <a:lnSpc>
          <a:spcPts val="9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Helvetica Neue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5pPr>
      <a:lvl6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6pPr>
      <a:lvl7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7pPr>
      <a:lvl8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8pPr>
      <a:lvl9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9pPr>
    </p:titleStyle>
    <p:bodyStyle>
      <a:lvl1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5pPr>
      <a:lvl6pPr marL="0" marR="0" indent="1778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6pPr>
      <a:lvl7pPr marL="0" marR="0" indent="3556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7pPr>
      <a:lvl8pPr marL="0" marR="0" indent="5334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8pPr>
      <a:lvl9pPr marL="0" marR="0" indent="7112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9pPr>
    </p:bodyStyle>
    <p:otherStyle>
      <a:lvl1pPr marL="0" marR="0" indent="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4328">
          <p15:clr>
            <a:srgbClr val="A4A3A4"/>
          </p15:clr>
        </p15:guide>
        <p15:guide id="4" pos="4793">
          <p15:clr>
            <a:srgbClr val="A4A3A4"/>
          </p15:clr>
        </p15:guide>
        <p15:guide id="6" pos="5768">
          <p15:clr>
            <a:srgbClr val="A4A3A4"/>
          </p15:clr>
        </p15:guide>
        <p15:guide id="7" pos="6244">
          <p15:clr>
            <a:srgbClr val="A4A3A4"/>
          </p15:clr>
        </p15:guide>
        <p15:guide id="8" pos="6721">
          <p15:clr>
            <a:srgbClr val="A4A3A4"/>
          </p15:clr>
        </p15:guide>
        <p15:guide id="9" pos="7208">
          <p15:clr>
            <a:srgbClr val="F26B43"/>
          </p15:clr>
        </p15:guide>
        <p15:guide id="10" pos="5280">
          <p15:clr>
            <a:srgbClr val="A4A3A4"/>
          </p15:clr>
        </p15:guide>
        <p15:guide id="11" pos="3364">
          <p15:clr>
            <a:srgbClr val="A4A3A4"/>
          </p15:clr>
        </p15:guide>
        <p15:guide id="12" pos="2876">
          <p15:clr>
            <a:srgbClr val="A4A3A4"/>
          </p15:clr>
        </p15:guide>
        <p15:guide id="13" pos="2389">
          <p15:clr>
            <a:srgbClr val="A4A3A4"/>
          </p15:clr>
        </p15:guide>
        <p15:guide id="14" pos="1912">
          <p15:clr>
            <a:srgbClr val="A4A3A4"/>
          </p15:clr>
        </p15:guide>
        <p15:guide id="15" pos="1436">
          <p15:clr>
            <a:srgbClr val="A4A3A4"/>
          </p15:clr>
        </p15:guide>
        <p15:guide id="16" pos="949">
          <p15:clr>
            <a:srgbClr val="A4A3A4"/>
          </p15:clr>
        </p15:guide>
        <p15:guide id="18" pos="472">
          <p15:clr>
            <a:srgbClr val="F26B43"/>
          </p15:clr>
        </p15:guide>
        <p15:guide id="19">
          <p15:clr>
            <a:srgbClr val="F26B43"/>
          </p15:clr>
        </p15:guide>
        <p15:guide id="20" orient="horz" pos="1922">
          <p15:clr>
            <a:srgbClr val="A4A3A4"/>
          </p15:clr>
        </p15:guide>
        <p15:guide id="21" orient="horz" pos="1435">
          <p15:clr>
            <a:srgbClr val="A4A3A4"/>
          </p15:clr>
        </p15:guide>
        <p15:guide id="22" orient="horz" pos="958">
          <p15:clr>
            <a:srgbClr val="A4A3A4"/>
          </p15:clr>
        </p15:guide>
        <p15:guide id="23" orient="horz" pos="482">
          <p15:clr>
            <a:srgbClr val="F26B43"/>
          </p15:clr>
        </p15:guide>
        <p15:guide id="24" orient="horz">
          <p15:clr>
            <a:srgbClr val="F26B43"/>
          </p15:clr>
        </p15:guide>
        <p15:guide id="25" orient="horz" pos="2398">
          <p15:clr>
            <a:srgbClr val="A4A3A4"/>
          </p15:clr>
        </p15:guide>
        <p15:guide id="26" orient="horz" pos="2875">
          <p15:clr>
            <a:srgbClr val="A4A3A4"/>
          </p15:clr>
        </p15:guide>
        <p15:guide id="27" orient="horz" pos="3362">
          <p15:clr>
            <a:srgbClr val="A4A3A4"/>
          </p15:clr>
        </p15:guide>
        <p15:guide id="28" orient="horz" pos="3839">
          <p15:clr>
            <a:srgbClr val="F26B43"/>
          </p15:clr>
        </p15:guide>
        <p15:guide id="29" orient="horz" pos="4320">
          <p15:clr>
            <a:srgbClr val="F26B43"/>
          </p15:clr>
        </p15:guide>
        <p15:guide id="30" pos="76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FAB9B91C-0FD1-4F6F-9A97-CF81A6E23C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74295409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7" name="Слайд think-cell" r:id="rId16" imgW="395" imgH="396" progId="TCLayout.ActiveDocument.1">
                  <p:embed/>
                </p:oleObj>
              </mc:Choice>
              <mc:Fallback>
                <p:oleObj name="Слайд think-cell" r:id="rId16" imgW="395" imgH="396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FAB9B91C-0FD1-4F6F-9A97-CF81A6E23C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07A37116-5E0F-491B-BAC8-83CA14E389C7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05833" cy="1058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33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12733D-68FD-4F15-8900-06C10174624C}" type="datetime1">
              <a:rPr lang="en-US" smtClean="0"/>
              <a:t>3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3440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2" name="Слайд think-cell" r:id="rId13" imgW="353" imgH="318" progId="TCLayout.ActiveDocument.1">
                  <p:embed/>
                </p:oleObj>
              </mc:Choice>
              <mc:Fallback>
                <p:oleObj name="Слайд think-cell" r:id="rId13" imgW="353" imgH="31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phic 14">
            <a:extLst>
              <a:ext uri="{FF2B5EF4-FFF2-40B4-BE49-F238E27FC236}">
                <a16:creationId xmlns:a16="http://schemas.microsoft.com/office/drawing/2014/main" id="{3F342EA3-ECC8-6944-8742-327940920E20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4" name="Title Text"/>
          <p:cNvSpPr>
            <a:spLocks noGrp="1"/>
          </p:cNvSpPr>
          <p:nvPr>
            <p:ph type="title"/>
          </p:nvPr>
        </p:nvSpPr>
        <p:spPr>
          <a:xfrm>
            <a:off x="749300" y="764382"/>
            <a:ext cx="7632700" cy="45727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50800" tIns="50800" rIns="50800" bIns="50800" anchor="b">
            <a:noAutofit/>
          </a:bodyPr>
          <a:lstStyle/>
          <a:p>
            <a:r>
              <a:rPr lang="en-US" dirty="0"/>
              <a:t>LOREM IPSUM DOLOR SI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6B5588F-C887-704A-A845-46DD2AA76E37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884207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</p:sldLayoutIdLst>
  <p:transition spd="med"/>
  <p:hf hdr="0" ftr="0" dt="0"/>
  <p:txStyles>
    <p:titleStyle>
      <a:lvl1pPr marL="0" marR="0" indent="0" algn="l" defTabSz="412750" rtl="0" latinLnBrk="0">
        <a:lnSpc>
          <a:spcPts val="9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0" baseline="0">
          <a:ln>
            <a:noFill/>
          </a:ln>
          <a:solidFill>
            <a:schemeClr val="tx1"/>
          </a:solidFill>
          <a:uFillTx/>
          <a:latin typeface="MTS Sans" panose="02000000000000000000" pitchFamily="2" charset="0"/>
          <a:ea typeface="MTS Sans" panose="02000000000000000000" pitchFamily="2" charset="0"/>
          <a:cs typeface="Arial" panose="020B0604020202020204" pitchFamily="34" charset="0"/>
          <a:sym typeface="Helvetica Neue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5pPr>
      <a:lvl6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6pPr>
      <a:lvl7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7pPr>
      <a:lvl8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8pPr>
      <a:lvl9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9pPr>
    </p:titleStyle>
    <p:bodyStyle>
      <a:lvl1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5pPr>
      <a:lvl6pPr marL="0" marR="0" indent="1778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6pPr>
      <a:lvl7pPr marL="0" marR="0" indent="3556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7pPr>
      <a:lvl8pPr marL="0" marR="0" indent="5334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8pPr>
      <a:lvl9pPr marL="0" marR="0" indent="7112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9pPr>
    </p:bodyStyle>
    <p:otherStyle>
      <a:lvl1pPr marL="0" marR="0" indent="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4328">
          <p15:clr>
            <a:srgbClr val="A4A3A4"/>
          </p15:clr>
        </p15:guide>
        <p15:guide id="4" pos="4793">
          <p15:clr>
            <a:srgbClr val="A4A3A4"/>
          </p15:clr>
        </p15:guide>
        <p15:guide id="6" pos="5768">
          <p15:clr>
            <a:srgbClr val="A4A3A4"/>
          </p15:clr>
        </p15:guide>
        <p15:guide id="7" pos="6244">
          <p15:clr>
            <a:srgbClr val="A4A3A4"/>
          </p15:clr>
        </p15:guide>
        <p15:guide id="8" pos="6721">
          <p15:clr>
            <a:srgbClr val="A4A3A4"/>
          </p15:clr>
        </p15:guide>
        <p15:guide id="9" pos="7208">
          <p15:clr>
            <a:srgbClr val="F26B43"/>
          </p15:clr>
        </p15:guide>
        <p15:guide id="10" pos="5280">
          <p15:clr>
            <a:srgbClr val="A4A3A4"/>
          </p15:clr>
        </p15:guide>
        <p15:guide id="11" pos="3364">
          <p15:clr>
            <a:srgbClr val="A4A3A4"/>
          </p15:clr>
        </p15:guide>
        <p15:guide id="12" pos="2876">
          <p15:clr>
            <a:srgbClr val="A4A3A4"/>
          </p15:clr>
        </p15:guide>
        <p15:guide id="13" pos="2389">
          <p15:clr>
            <a:srgbClr val="A4A3A4"/>
          </p15:clr>
        </p15:guide>
        <p15:guide id="14" pos="1912">
          <p15:clr>
            <a:srgbClr val="A4A3A4"/>
          </p15:clr>
        </p15:guide>
        <p15:guide id="15" pos="1436">
          <p15:clr>
            <a:srgbClr val="A4A3A4"/>
          </p15:clr>
        </p15:guide>
        <p15:guide id="16" pos="949">
          <p15:clr>
            <a:srgbClr val="A4A3A4"/>
          </p15:clr>
        </p15:guide>
        <p15:guide id="18" pos="472">
          <p15:clr>
            <a:srgbClr val="F26B43"/>
          </p15:clr>
        </p15:guide>
        <p15:guide id="19">
          <p15:clr>
            <a:srgbClr val="F26B43"/>
          </p15:clr>
        </p15:guide>
        <p15:guide id="20" orient="horz" pos="1922">
          <p15:clr>
            <a:srgbClr val="A4A3A4"/>
          </p15:clr>
        </p15:guide>
        <p15:guide id="21" orient="horz" pos="1435">
          <p15:clr>
            <a:srgbClr val="A4A3A4"/>
          </p15:clr>
        </p15:guide>
        <p15:guide id="22" orient="horz" pos="958">
          <p15:clr>
            <a:srgbClr val="A4A3A4"/>
          </p15:clr>
        </p15:guide>
        <p15:guide id="24" orient="horz" pos="482">
          <p15:clr>
            <a:srgbClr val="F26B43"/>
          </p15:clr>
        </p15:guide>
        <p15:guide id="25" orient="horz" pos="2398">
          <p15:clr>
            <a:srgbClr val="A4A3A4"/>
          </p15:clr>
        </p15:guide>
        <p15:guide id="26" orient="horz" pos="2875">
          <p15:clr>
            <a:srgbClr val="A4A3A4"/>
          </p15:clr>
        </p15:guide>
        <p15:guide id="27" orient="horz" pos="3362">
          <p15:clr>
            <a:srgbClr val="A4A3A4"/>
          </p15:clr>
        </p15:guide>
        <p15:guide id="28" orient="horz" pos="3839">
          <p15:clr>
            <a:srgbClr val="F26B43"/>
          </p15:clr>
        </p15:guide>
        <p15:guide id="29" orient="horz" pos="4320">
          <p15:clr>
            <a:srgbClr val="F26B43"/>
          </p15:clr>
        </p15:guide>
        <p15:guide id="30" pos="76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12.xml"/><Relationship Id="rId7" Type="http://schemas.microsoft.com/office/2007/relationships/hdphoto" Target="../media/hdphoto1.wdp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8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6798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5" name="Слайд think-cell" r:id="rId4" imgW="520" imgH="523" progId="TCLayout.ActiveDocument.1">
                  <p:embed/>
                </p:oleObj>
              </mc:Choice>
              <mc:Fallback>
                <p:oleObj name="Слайд think-cell" r:id="rId4" imgW="520" imgH="5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24262" y="1048868"/>
            <a:ext cx="9144000" cy="2387600"/>
          </a:xfrm>
        </p:spPr>
        <p:txBody>
          <a:bodyPr vert="horz">
            <a:normAutofit/>
          </a:bodyPr>
          <a:lstStyle/>
          <a:p>
            <a:pPr algn="l"/>
            <a:r>
              <a:rPr lang="ru-RU" sz="3600" b="1" dirty="0" smtClean="0">
                <a:solidFill>
                  <a:srgbClr val="C00000"/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Размещение</a:t>
            </a:r>
            <a:r>
              <a:rPr lang="ru-RU" sz="3600" b="1" dirty="0">
                <a:solidFill>
                  <a:srgbClr val="C00000"/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  </a:t>
            </a:r>
            <a:r>
              <a:rPr lang="ru-RU" sz="3600" b="1" dirty="0" smtClean="0">
                <a:solidFill>
                  <a:srgbClr val="C00000"/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антенно-мачтовых сооружений связи на территории </a:t>
            </a:r>
            <a:br>
              <a:rPr lang="ru-RU" sz="3600" b="1" dirty="0" smtClean="0">
                <a:solidFill>
                  <a:srgbClr val="C00000"/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</a:br>
            <a:r>
              <a:rPr lang="ru-RU" sz="3600" b="1" dirty="0" smtClean="0">
                <a:solidFill>
                  <a:srgbClr val="C00000"/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Санкт-Петербурга</a:t>
            </a:r>
            <a:endParaRPr lang="ru-RU" sz="3600" b="1" dirty="0">
              <a:solidFill>
                <a:srgbClr val="C00000"/>
              </a:solidFill>
              <a:latin typeface="Arial" panose="020B0604020202020204" pitchFamily="34" charset="0"/>
              <a:ea typeface="MTS Sans" panose="02000000000000000000" pitchFamily="50" charset="0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  <a14:imgEffect>
                      <a14:brightnessContrast bright="-2000" contrast="-1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6854" r="35605"/>
          <a:stretch/>
        </p:blipFill>
        <p:spPr>
          <a:xfrm>
            <a:off x="8991600" y="-11017"/>
            <a:ext cx="3200400" cy="6872936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/>
        </p:nvCxnSpPr>
        <p:spPr>
          <a:xfrm>
            <a:off x="8991600" y="0"/>
            <a:ext cx="0" cy="6872936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758675" y="6278146"/>
            <a:ext cx="19422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Март 2022</a:t>
            </a:r>
            <a:endParaRPr lang="ru-RU" sz="20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ea typeface="MTS Sans" panose="02000000000000000000" pitchFamily="50" charset="0"/>
              <a:cs typeface="Arial" panose="020B060402020202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947"/>
          <a:stretch/>
        </p:blipFill>
        <p:spPr>
          <a:xfrm>
            <a:off x="324262" y="6053054"/>
            <a:ext cx="1613026" cy="626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555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4025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8" name="Слайд think-cell" r:id="rId4" imgW="732" imgH="735" progId="TCLayout.ActiveDocument.1">
                  <p:embed/>
                </p:oleObj>
              </mc:Choice>
              <mc:Fallback>
                <p:oleObj name="Слайд think-cell" r:id="rId4" imgW="732" imgH="7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09074" y="21974"/>
            <a:ext cx="11737880" cy="1325563"/>
          </a:xfrm>
        </p:spPr>
        <p:txBody>
          <a:bodyPr vert="horz">
            <a:normAutofit/>
          </a:bodyPr>
          <a:lstStyle/>
          <a:p>
            <a:pPr algn="ctr"/>
            <a:r>
              <a:rPr lang="ru-RU" sz="2400" b="1" dirty="0">
                <a:solidFill>
                  <a:srgbClr val="C00000"/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  <a:sym typeface="Helvetica Neue"/>
              </a:rPr>
              <a:t>Получение санитарно-эпидемиологического заключения на размещение базовой станции (Р1)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9074" y="1195081"/>
            <a:ext cx="11335412" cy="5305925"/>
          </a:xfrm>
          <a:ln w="19050">
            <a:noFill/>
          </a:ln>
        </p:spPr>
        <p:txBody>
          <a:bodyPr>
            <a:normAutofit/>
          </a:bodyPr>
          <a:lstStyle/>
          <a:p>
            <a:pPr marL="0" indent="0" algn="just">
              <a:lnSpc>
                <a:spcPts val="2200"/>
              </a:lnSpc>
              <a:buNone/>
            </a:pPr>
            <a:r>
              <a:rPr lang="ru-RU" sz="16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Санитарные </a:t>
            </a:r>
            <a:r>
              <a:rPr lang="ru-RU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правила и нормы СанПиН 2.1.3684-21 </a:t>
            </a:r>
            <a:r>
              <a:rPr lang="ru-RU" sz="16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«Санитарно-эпидемиологические </a:t>
            </a:r>
            <a:r>
              <a:rPr lang="ru-RU" sz="1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требования к содержанию территорий городских и сельских поселений, к водным объектам, питьевой воде и питьевому водоснабжению, атмосферному воздуху, почвам, жилым помещениям, эксплуатации производственных, общественных помещений, организации и проведению санитарно-противоэпидемических (профилактических) </a:t>
            </a:r>
            <a:r>
              <a:rPr lang="ru-RU" sz="16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мероприятий»</a:t>
            </a:r>
          </a:p>
          <a:p>
            <a:pPr marL="914400" lvl="2" indent="0">
              <a:buNone/>
            </a:pPr>
            <a:endParaRPr lang="ru-RU" sz="1800" dirty="0" smtClean="0">
              <a:latin typeface="MTS Sans" panose="02000000000000000000" pitchFamily="50" charset="0"/>
              <a:ea typeface="MTS Sans" panose="02000000000000000000" pitchFamily="50" charset="0"/>
            </a:endParaRPr>
          </a:p>
          <a:p>
            <a:pPr marL="914400" lvl="2" indent="0">
              <a:lnSpc>
                <a:spcPts val="2200"/>
              </a:lnSpc>
              <a:buNone/>
            </a:pPr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XIII. Санитарно-эпидемиологические требования к размещению и эксплуатации радиоэлектронных средств</a:t>
            </a:r>
          </a:p>
          <a:p>
            <a:pPr marL="0" indent="0">
              <a:buNone/>
            </a:pPr>
            <a:endParaRPr lang="ru-RU" sz="1700" dirty="0">
              <a:latin typeface="Arial" panose="020B0604020202020204" pitchFamily="34" charset="0"/>
              <a:ea typeface="MTS Sans" panose="02000000000000000000" pitchFamily="50" charset="0"/>
              <a:cs typeface="Arial" panose="020B0604020202020204" pitchFamily="34" charset="0"/>
            </a:endParaRPr>
          </a:p>
          <a:p>
            <a:pPr marL="285750" lvl="1" indent="-285750" algn="just">
              <a:lnSpc>
                <a:spcPts val="2200"/>
              </a:lnSpc>
              <a:buFont typeface="Wingdings" panose="05000000000000000000" pitchFamily="2" charset="2"/>
              <a:buChar char="§"/>
            </a:pPr>
            <a:r>
              <a:rPr lang="ru-RU" sz="1700" dirty="0"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п. 290. </a:t>
            </a:r>
            <a:r>
              <a:rPr lang="ru-RU" sz="1700" dirty="0"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Перед размещением, реконструкцией, техническим перевооружением (модернизацией) радиоэлектронных средств правообладателем радиоэлектронных средств должна разрабатываться проектная документация на условия размещения радиоэлектронного средства (далее - РЭС), на которую должно оформляться санитарно-эпидемиологическое заключение о соответствии Санитарным правилам и гигиеническим </a:t>
            </a:r>
            <a:r>
              <a:rPr lang="ru-RU" sz="1700" dirty="0"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нормативам (</a:t>
            </a:r>
            <a:r>
              <a:rPr lang="ru-RU" sz="1700" dirty="0" smtClean="0"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Р1)</a:t>
            </a:r>
            <a:endParaRPr lang="en-US" sz="1700" dirty="0" smtClean="0">
              <a:latin typeface="Arial" panose="020B0604020202020204" pitchFamily="34" charset="0"/>
              <a:ea typeface="MTS Sans" panose="02000000000000000000" pitchFamily="50" charset="0"/>
              <a:cs typeface="Arial" panose="020B0604020202020204" pitchFamily="34" charset="0"/>
            </a:endParaRPr>
          </a:p>
          <a:p>
            <a:pPr marL="285750" lvl="1" indent="-285750" algn="just">
              <a:lnSpc>
                <a:spcPts val="2200"/>
              </a:lnSpc>
              <a:buFont typeface="Wingdings" panose="05000000000000000000" pitchFamily="2" charset="2"/>
              <a:buChar char="§"/>
            </a:pPr>
            <a:r>
              <a:rPr lang="ru-RU" sz="1700" dirty="0" smtClean="0"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п</a:t>
            </a:r>
            <a:r>
              <a:rPr lang="ru-RU" sz="1700" dirty="0"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. </a:t>
            </a:r>
            <a:r>
              <a:rPr lang="ru-RU" sz="1700" dirty="0"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296. Владелец РЭС, осуществляющий эксплуатацию РЭС, обеспечивает проведение производственного контроля ЭМП, предусматривающего проведение инструментальных исследований уровней ЭМП в течение 10 рабочих дней после дня ввода РЭС в эксплуатацию, далее - один раз в три года</a:t>
            </a:r>
            <a:r>
              <a:rPr lang="ru-RU" sz="1700" dirty="0"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.</a:t>
            </a:r>
            <a:endParaRPr lang="ru-RU" sz="1700" dirty="0">
              <a:latin typeface="Arial" panose="020B0604020202020204" pitchFamily="34" charset="0"/>
              <a:ea typeface="MTS Sans" panose="02000000000000000000" pitchFamily="50" charset="0"/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6" cstate="hq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842" y="2923374"/>
            <a:ext cx="545098" cy="55054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1586754" y="6348549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2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332539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610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8" name="Слайд think-cell" r:id="rId4" imgW="520" imgH="523" progId="TCLayout.ActiveDocument.1">
                  <p:embed/>
                </p:oleObj>
              </mc:Choice>
              <mc:Fallback>
                <p:oleObj name="Слайд think-cell" r:id="rId4" imgW="520" imgH="523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6"/>
          <a:srcRect r="50111"/>
          <a:stretch/>
        </p:blipFill>
        <p:spPr>
          <a:xfrm>
            <a:off x="463595" y="477791"/>
            <a:ext cx="4905239" cy="6086518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5760845" y="989101"/>
            <a:ext cx="6096000" cy="449353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ts val="2200"/>
              </a:lnSpc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Нормирование ПДУ ЭМП с частотой 300 МГц — 300 ГГц</a:t>
            </a:r>
          </a:p>
          <a:p>
            <a:pPr>
              <a:lnSpc>
                <a:spcPts val="2200"/>
              </a:lnSpc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опустимые уровни излучения передающих радиотехнических объектов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анитарно-селитебной зоне (неконтролируемое воздействие, для населения) в некоторых странах заметно различаются (большие уровни на более высоких частотах):</a:t>
            </a: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ия, Польша, Беларусь, Казахстан: </a:t>
            </a:r>
            <a:r>
              <a:rPr lang="ru-RU" sz="1600" b="1" dirty="0">
                <a:solidFill>
                  <a:srgbClr val="EE1C2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</a:t>
            </a:r>
            <a:r>
              <a:rPr lang="ru-RU" sz="1600" b="1" dirty="0" smtClean="0">
                <a:solidFill>
                  <a:srgbClr val="EE1C2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кВт/см²</a:t>
            </a:r>
            <a:endParaRPr lang="ru-RU" sz="1600" b="1" dirty="0">
              <a:solidFill>
                <a:srgbClr val="EE1C2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раина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100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мкВт/см²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ША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Европа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за исключением некоторых стран)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пония, Корея: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200—1000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мкВт/см²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нада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130—2000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мкВт/см²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тай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10 (40) — 2000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мкВт/см²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1586754" y="6348549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3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058753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1613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9" name="Слайд think-cell" r:id="rId4" imgW="520" imgH="523" progId="TCLayout.ActiveDocument.1">
                  <p:embed/>
                </p:oleObj>
              </mc:Choice>
              <mc:Fallback>
                <p:oleObj name="Слайд think-cell" r:id="rId4" imgW="520" imgH="5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6"/>
          <a:srcRect l="50952"/>
          <a:stretch/>
        </p:blipFill>
        <p:spPr>
          <a:xfrm>
            <a:off x="522514" y="477791"/>
            <a:ext cx="4900012" cy="6184266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6131597" y="947594"/>
            <a:ext cx="5611912" cy="23255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200"/>
              </a:lnSpc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ременно допустимый уровень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обильных радиотелефонов для пользователей в РФ определён, как </a:t>
            </a:r>
            <a:r>
              <a:rPr lang="ru-RU" sz="1600" b="1" dirty="0">
                <a:solidFill>
                  <a:srgbClr val="E71E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,0 мкВт/см² </a:t>
            </a:r>
            <a:r>
              <a:rPr lang="ru-RU" sz="1600" b="1" dirty="0" smtClean="0">
                <a:solidFill>
                  <a:srgbClr val="E71E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 соответствии с Разделом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4.1 — Гигиенические требования к подвижным станциям сухопутной радиосвязи СанПиН 2.1.8/2.2.4.1190-03 «Гигиенические требования к размещению и эксплуатации средств сухопутной подвижной радиосвязи»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1586754" y="6348549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4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522779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410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3" name="Слайд think-cell" r:id="rId4" imgW="434" imgH="430" progId="TCLayout.ActiveDocument.1">
                  <p:embed/>
                </p:oleObj>
              </mc:Choice>
              <mc:Fallback>
                <p:oleObj name="Слайд think-cell" r:id="rId4" imgW="434" imgH="4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6"/>
          <a:srcRect t="19785" r="-164" b="44871"/>
          <a:stretch/>
        </p:blipFill>
        <p:spPr>
          <a:xfrm>
            <a:off x="380150" y="1351069"/>
            <a:ext cx="10501209" cy="2188481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641493" y="3949438"/>
            <a:ext cx="5242806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Базовые станции мобильной связи облучают все живое вокруг себя. </a:t>
            </a:r>
            <a:r>
              <a:rPr lang="ru-RU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Строительство </a:t>
            </a:r>
            <a:r>
              <a:rPr lang="ru-RU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каждой новой БС это </a:t>
            </a:r>
            <a:r>
              <a:rPr lang="ru-RU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вред окружающей среде .</a:t>
            </a:r>
            <a:endParaRPr lang="ru-RU" sz="13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MTS Sans" panose="020000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230848" y="3833489"/>
            <a:ext cx="5773783" cy="11746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200"/>
              </a:lnSpc>
            </a:pPr>
            <a:r>
              <a:rPr lang="ru-RU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Диаграмма направленности излучения антенн базовых станций: </a:t>
            </a:r>
          </a:p>
          <a:p>
            <a:pPr marL="285750" indent="-285750">
              <a:buClr>
                <a:srgbClr val="EE1C25"/>
              </a:buClr>
              <a:buFont typeface="Arial" panose="020B0604020202020204" pitchFamily="34" charset="0"/>
              <a:buChar char="•"/>
            </a:pPr>
            <a:r>
              <a:rPr lang="ru-RU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узконаправленная</a:t>
            </a:r>
          </a:p>
          <a:p>
            <a:pPr marL="285750" indent="-285750">
              <a:buClr>
                <a:srgbClr val="EE1C25"/>
              </a:buClr>
              <a:buFont typeface="Arial" panose="020B0604020202020204" pitchFamily="34" charset="0"/>
              <a:buChar char="•"/>
            </a:pPr>
            <a:r>
              <a:rPr lang="ru-RU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мощность излучения ограниченная</a:t>
            </a:r>
          </a:p>
          <a:p>
            <a:pPr marL="285750" indent="-285750">
              <a:buClr>
                <a:srgbClr val="EE1C25"/>
              </a:buClr>
              <a:buFont typeface="Arial" panose="020B0604020202020204" pitchFamily="34" charset="0"/>
              <a:buChar char="•"/>
            </a:pPr>
            <a:r>
              <a:rPr lang="ru-RU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ч</a:t>
            </a:r>
            <a:r>
              <a:rPr lang="ru-RU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ем современнее оборудование, тем точнее  направленность сигнала </a:t>
            </a:r>
            <a:endParaRPr lang="ru-RU" sz="13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MTS Sans" panose="020000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45910" y="5010535"/>
            <a:ext cx="4680000" cy="135421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dirty="0" smtClean="0"/>
              <a:t>             </a:t>
            </a:r>
            <a:r>
              <a:rPr lang="ru-RU" sz="1400" b="1" dirty="0" smtClean="0">
                <a:solidFill>
                  <a:schemeClr val="bg1"/>
                </a:solidFill>
              </a:rPr>
              <a:t>ВАЖНО ЗНАТЬ:</a:t>
            </a:r>
          </a:p>
          <a:p>
            <a:pPr>
              <a:spcBef>
                <a:spcPts val="1200"/>
              </a:spcBef>
            </a:pPr>
            <a:r>
              <a:rPr lang="ru-RU" sz="1200" dirty="0" smtClean="0">
                <a:solidFill>
                  <a:schemeClr val="bg1"/>
                </a:solidFill>
              </a:rPr>
              <a:t>«… Чем выше плотность размещения базовых станций ( в крупных городах базовые станции расположены через 150-200 метров), тем лучше уровень сигнала сети, и ниже излучение Вашего мобильного телефона!»</a:t>
            </a:r>
            <a:endParaRPr lang="ru-RU" sz="1200" dirty="0"/>
          </a:p>
        </p:txBody>
      </p:sp>
      <p:sp>
        <p:nvSpPr>
          <p:cNvPr id="19" name="Овал 18"/>
          <p:cNvSpPr/>
          <p:nvPr/>
        </p:nvSpPr>
        <p:spPr>
          <a:xfrm>
            <a:off x="870550" y="5078539"/>
            <a:ext cx="351372" cy="320130"/>
          </a:xfrm>
          <a:prstGeom prst="ellipse">
            <a:avLst/>
          </a:prstGeom>
          <a:solidFill>
            <a:srgbClr val="E71E26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!</a:t>
            </a:r>
            <a:endParaRPr lang="ru-RU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6378636" y="5008170"/>
            <a:ext cx="5478205" cy="135421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              </a:t>
            </a:r>
            <a:r>
              <a:rPr lang="ru-RU" sz="1200" dirty="0" smtClean="0">
                <a:solidFill>
                  <a:schemeClr val="bg1"/>
                </a:solidFill>
              </a:rPr>
              <a:t>Оборудование мобильной связи, устанавливаемое на объектах,                 </a:t>
            </a:r>
          </a:p>
          <a:p>
            <a:r>
              <a:rPr lang="ru-RU" sz="1200" dirty="0">
                <a:solidFill>
                  <a:schemeClr val="bg1"/>
                </a:solidFill>
              </a:rPr>
              <a:t> </a:t>
            </a:r>
            <a:r>
              <a:rPr lang="ru-RU" sz="1200" dirty="0" smtClean="0">
                <a:solidFill>
                  <a:schemeClr val="bg1"/>
                </a:solidFill>
              </a:rPr>
              <a:t>              удовлетворяет требованиям:</a:t>
            </a:r>
          </a:p>
          <a:p>
            <a:pPr marL="285750" indent="-285750">
              <a:spcBef>
                <a:spcPts val="600"/>
              </a:spcBef>
              <a:buClr>
                <a:srgbClr val="EE1C25"/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1"/>
                </a:solidFill>
              </a:rPr>
              <a:t>СанПиН 2.1.8</a:t>
            </a:r>
            <a:r>
              <a:rPr lang="en-US" sz="1200" dirty="0" smtClean="0">
                <a:solidFill>
                  <a:schemeClr val="bg1"/>
                </a:solidFill>
              </a:rPr>
              <a:t>/</a:t>
            </a:r>
            <a:r>
              <a:rPr lang="ru-RU" sz="1200" dirty="0" smtClean="0">
                <a:solidFill>
                  <a:schemeClr val="bg1"/>
                </a:solidFill>
              </a:rPr>
              <a:t>2.2.4.1190-03 «Гигиенические требования к размещению и эксплуатации средств сухопутной подвижной связи»</a:t>
            </a:r>
          </a:p>
          <a:p>
            <a:pPr marL="285750" indent="-285750">
              <a:spcBef>
                <a:spcPts val="600"/>
              </a:spcBef>
              <a:buClr>
                <a:srgbClr val="EE1C25"/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1"/>
                </a:solidFill>
              </a:rPr>
              <a:t>СанПиН </a:t>
            </a:r>
            <a:r>
              <a:rPr lang="ru-RU" sz="1200" dirty="0">
                <a:solidFill>
                  <a:schemeClr val="bg1"/>
                </a:solidFill>
              </a:rPr>
              <a:t>2.1.8/2.2.4.1383-03 «Гигиенические требования к размещению и эксплуатации </a:t>
            </a:r>
            <a:r>
              <a:rPr lang="ru-RU" sz="1200" dirty="0" smtClean="0">
                <a:solidFill>
                  <a:schemeClr val="bg1"/>
                </a:solidFill>
              </a:rPr>
              <a:t>передающих радиотехнических  объектов»</a:t>
            </a:r>
          </a:p>
        </p:txBody>
      </p:sp>
      <p:sp>
        <p:nvSpPr>
          <p:cNvPr id="21" name="Овал 20"/>
          <p:cNvSpPr/>
          <p:nvPr/>
        </p:nvSpPr>
        <p:spPr>
          <a:xfrm>
            <a:off x="6504817" y="5073582"/>
            <a:ext cx="380497" cy="325087"/>
          </a:xfrm>
          <a:prstGeom prst="ellipse">
            <a:avLst/>
          </a:prstGeom>
          <a:solidFill>
            <a:srgbClr val="E71E26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!</a:t>
            </a:r>
            <a:endParaRPr lang="ru-RU" b="1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5399298" y="3422744"/>
            <a:ext cx="6096000" cy="374461"/>
          </a:xfrm>
          <a:prstGeom prst="rect">
            <a:avLst/>
          </a:prstGeom>
        </p:spPr>
        <p:txBody>
          <a:bodyPr>
            <a:spAutoFit/>
          </a:bodyPr>
          <a:lstStyle/>
          <a:p>
            <a:pPr lvl="2">
              <a:lnSpc>
                <a:spcPts val="2200"/>
              </a:lnSpc>
            </a:pPr>
            <a:r>
              <a:rPr lang="ru-RU" sz="1600" b="1" dirty="0" smtClean="0"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Факт  № 1 </a:t>
            </a:r>
            <a:endParaRPr lang="ru-RU" sz="1600" b="1" dirty="0">
              <a:latin typeface="Arial" panose="020B0604020202020204" pitchFamily="34" charset="0"/>
              <a:ea typeface="MTS Sans" panose="02000000000000000000" pitchFamily="50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-211701" y="3454992"/>
            <a:ext cx="6096000" cy="374461"/>
          </a:xfrm>
          <a:prstGeom prst="rect">
            <a:avLst/>
          </a:prstGeom>
        </p:spPr>
        <p:txBody>
          <a:bodyPr>
            <a:spAutoFit/>
          </a:bodyPr>
          <a:lstStyle/>
          <a:p>
            <a:pPr lvl="2">
              <a:lnSpc>
                <a:spcPts val="2200"/>
              </a:lnSpc>
            </a:pPr>
            <a:r>
              <a:rPr lang="ru-RU" sz="1600" b="1" dirty="0" smtClean="0">
                <a:solidFill>
                  <a:srgbClr val="EE1C25"/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Заблуждение № 1 </a:t>
            </a:r>
            <a:endParaRPr lang="ru-RU" sz="1600" b="1" dirty="0">
              <a:solidFill>
                <a:srgbClr val="EE1C25"/>
              </a:solidFill>
              <a:latin typeface="Arial" panose="020B0604020202020204" pitchFamily="34" charset="0"/>
              <a:ea typeface="MTS Sans" panose="020000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586754" y="6348549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5</a:t>
            </a:r>
            <a:endParaRPr lang="ru-RU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6230848" y="303245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41493" y="303245"/>
            <a:ext cx="355738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ЗАБЛУЖДЕНИЯ И ФАКТЫ </a:t>
            </a:r>
          </a:p>
          <a:p>
            <a:r>
              <a:rPr lang="ru-RU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МОБИЛЬНОЙ СВЯЗИ</a:t>
            </a:r>
            <a:endParaRPr lang="ru-RU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7873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7631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4" name="Слайд think-cell" r:id="rId4" imgW="434" imgH="430" progId="TCLayout.ActiveDocument.1">
                  <p:embed/>
                </p:oleObj>
              </mc:Choice>
              <mc:Fallback>
                <p:oleObj name="Слайд think-cell" r:id="rId4" imgW="434" imgH="4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6"/>
          <a:srcRect t="23473" b="46223"/>
          <a:stretch/>
        </p:blipFill>
        <p:spPr>
          <a:xfrm>
            <a:off x="806674" y="1601673"/>
            <a:ext cx="10362462" cy="1876381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-199535" y="3548333"/>
            <a:ext cx="6096000" cy="374461"/>
          </a:xfrm>
          <a:prstGeom prst="rect">
            <a:avLst/>
          </a:prstGeom>
        </p:spPr>
        <p:txBody>
          <a:bodyPr>
            <a:spAutoFit/>
          </a:bodyPr>
          <a:lstStyle/>
          <a:p>
            <a:pPr lvl="2">
              <a:lnSpc>
                <a:spcPts val="2200"/>
              </a:lnSpc>
            </a:pPr>
            <a:r>
              <a:rPr lang="ru-RU" sz="1600" b="1" dirty="0" smtClean="0">
                <a:solidFill>
                  <a:srgbClr val="EE1C25"/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Заблуждение № 2 </a:t>
            </a:r>
            <a:endParaRPr lang="ru-RU" sz="1600" b="1" dirty="0">
              <a:solidFill>
                <a:srgbClr val="EE1C25"/>
              </a:solidFill>
              <a:latin typeface="Arial" panose="020B0604020202020204" pitchFamily="34" charset="0"/>
              <a:ea typeface="MTS Sans" panose="02000000000000000000" pitchFamily="50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45099" y="4158605"/>
            <a:ext cx="468000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Мобильный телефон всегда работает на полную мощность независимо от уровня сигнала.</a:t>
            </a:r>
            <a:endParaRPr lang="ru-RU" sz="13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MTS Sans" panose="02000000000000000000" pitchFamily="50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45099" y="4854210"/>
            <a:ext cx="4680000" cy="135421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dirty="0" smtClean="0"/>
              <a:t>             </a:t>
            </a:r>
            <a:r>
              <a:rPr lang="ru-RU" sz="1400" b="1" dirty="0" smtClean="0">
                <a:solidFill>
                  <a:schemeClr val="bg1"/>
                </a:solidFill>
              </a:rPr>
              <a:t>ВАЖНО ЗНАТЬ:</a:t>
            </a:r>
          </a:p>
          <a:p>
            <a:pPr>
              <a:spcBef>
                <a:spcPts val="1200"/>
              </a:spcBef>
            </a:pPr>
            <a:r>
              <a:rPr lang="ru-RU" sz="1200" dirty="0" smtClean="0">
                <a:solidFill>
                  <a:schemeClr val="bg1"/>
                </a:solidFill>
              </a:rPr>
              <a:t>«… Чем выше плотность размещения базовых станций ( в крупных городах базовые станции расположены через 150-200 метров), тем лучше уровень сигнала сети, и ниже излучение Вашего мобильного телефона!»</a:t>
            </a:r>
            <a:endParaRPr lang="ru-RU" sz="1200" dirty="0"/>
          </a:p>
        </p:txBody>
      </p:sp>
      <p:sp>
        <p:nvSpPr>
          <p:cNvPr id="9" name="Овал 8"/>
          <p:cNvSpPr/>
          <p:nvPr/>
        </p:nvSpPr>
        <p:spPr>
          <a:xfrm>
            <a:off x="806674" y="4977989"/>
            <a:ext cx="351372" cy="320130"/>
          </a:xfrm>
          <a:prstGeom prst="ellipse">
            <a:avLst/>
          </a:prstGeom>
          <a:solidFill>
            <a:srgbClr val="E71E26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!</a:t>
            </a:r>
            <a:endParaRPr lang="ru-RU" b="1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5312489" y="3539944"/>
            <a:ext cx="6096000" cy="374461"/>
          </a:xfrm>
          <a:prstGeom prst="rect">
            <a:avLst/>
          </a:prstGeom>
        </p:spPr>
        <p:txBody>
          <a:bodyPr>
            <a:spAutoFit/>
          </a:bodyPr>
          <a:lstStyle/>
          <a:p>
            <a:pPr lvl="2">
              <a:lnSpc>
                <a:spcPts val="2200"/>
              </a:lnSpc>
            </a:pPr>
            <a:r>
              <a:rPr lang="ru-RU" sz="1600" b="1" dirty="0" smtClean="0"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Факт  № 2 </a:t>
            </a:r>
            <a:endParaRPr lang="ru-RU" sz="1600" b="1" dirty="0">
              <a:latin typeface="Arial" panose="020B0604020202020204" pitchFamily="34" charset="0"/>
              <a:ea typeface="MTS Sans" panose="020000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325926" y="3897339"/>
            <a:ext cx="5513347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0050" indent="-400050">
              <a:buFont typeface="+mj-lt"/>
              <a:buAutoNum type="romanUcPeriod"/>
            </a:pPr>
            <a:r>
              <a:rPr lang="ru-RU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Если сигнал базовой станции слабый, то телефон работает на большей мощности и излучает сильнее!</a:t>
            </a:r>
          </a:p>
          <a:p>
            <a:pPr marL="400050" indent="-400050">
              <a:buFont typeface="+mj-lt"/>
              <a:buAutoNum type="romanUcPeriod"/>
            </a:pPr>
            <a:r>
              <a:rPr lang="ru-RU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MTS Sans" panose="02000000000000000000" pitchFamily="50" charset="0"/>
                <a:cs typeface="Arial" panose="020B0604020202020204" pitchFamily="34" charset="0"/>
              </a:rPr>
              <a:t>Если сигнал от базовой станции сильный, то телефон работает на меньшей мощности!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361068" y="4892631"/>
            <a:ext cx="5478205" cy="135421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              </a:t>
            </a:r>
            <a:r>
              <a:rPr lang="ru-RU" sz="1200" dirty="0" smtClean="0">
                <a:solidFill>
                  <a:schemeClr val="bg1"/>
                </a:solidFill>
              </a:rPr>
              <a:t>Оборудование мобильной связи, устанавливаемое на объектах,                 </a:t>
            </a:r>
          </a:p>
          <a:p>
            <a:r>
              <a:rPr lang="ru-RU" sz="1200" dirty="0">
                <a:solidFill>
                  <a:schemeClr val="bg1"/>
                </a:solidFill>
              </a:rPr>
              <a:t> </a:t>
            </a:r>
            <a:r>
              <a:rPr lang="ru-RU" sz="1200" dirty="0" smtClean="0">
                <a:solidFill>
                  <a:schemeClr val="bg1"/>
                </a:solidFill>
              </a:rPr>
              <a:t>              удовлетворяет требованиям:</a:t>
            </a:r>
          </a:p>
          <a:p>
            <a:pPr marL="285750" indent="-285750">
              <a:spcBef>
                <a:spcPts val="600"/>
              </a:spcBef>
              <a:buClr>
                <a:srgbClr val="EE1C25"/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1"/>
                </a:solidFill>
              </a:rPr>
              <a:t>СанПиН 2.1.8</a:t>
            </a:r>
            <a:r>
              <a:rPr lang="en-US" sz="1200" dirty="0" smtClean="0">
                <a:solidFill>
                  <a:schemeClr val="bg1"/>
                </a:solidFill>
              </a:rPr>
              <a:t>/</a:t>
            </a:r>
            <a:r>
              <a:rPr lang="ru-RU" sz="1200" dirty="0" smtClean="0">
                <a:solidFill>
                  <a:schemeClr val="bg1"/>
                </a:solidFill>
              </a:rPr>
              <a:t>2.2.4.1190-03 «Гигиенические требования к размещению и эксплуатации средств сухопутной подвижной связи»</a:t>
            </a:r>
          </a:p>
          <a:p>
            <a:pPr marL="285750" indent="-285750">
              <a:spcBef>
                <a:spcPts val="600"/>
              </a:spcBef>
              <a:buClr>
                <a:srgbClr val="EE1C25"/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bg1"/>
                </a:solidFill>
              </a:rPr>
              <a:t>СанПиН </a:t>
            </a:r>
            <a:r>
              <a:rPr lang="ru-RU" sz="1200" dirty="0">
                <a:solidFill>
                  <a:schemeClr val="bg1"/>
                </a:solidFill>
              </a:rPr>
              <a:t>2.1.8/2.2.4.1383-03 «Гигиенические требования к размещению и эксплуатации </a:t>
            </a:r>
            <a:r>
              <a:rPr lang="ru-RU" sz="1200" dirty="0" smtClean="0">
                <a:solidFill>
                  <a:schemeClr val="bg1"/>
                </a:solidFill>
              </a:rPr>
              <a:t>передающих радиотехнических  объектов»</a:t>
            </a:r>
          </a:p>
        </p:txBody>
      </p:sp>
      <p:sp>
        <p:nvSpPr>
          <p:cNvPr id="13" name="Овал 12"/>
          <p:cNvSpPr/>
          <p:nvPr/>
        </p:nvSpPr>
        <p:spPr>
          <a:xfrm>
            <a:off x="6477503" y="4977989"/>
            <a:ext cx="372184" cy="320130"/>
          </a:xfrm>
          <a:prstGeom prst="ellipse">
            <a:avLst/>
          </a:prstGeom>
          <a:solidFill>
            <a:srgbClr val="E71E26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!</a:t>
            </a:r>
            <a:endParaRPr lang="ru-RU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11586754" y="6348549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6</a:t>
            </a:r>
            <a:endParaRPr lang="ru-RU" sz="1400" dirty="0"/>
          </a:p>
        </p:txBody>
      </p:sp>
      <p:sp>
        <p:nvSpPr>
          <p:cNvPr id="16" name="TextBox 15"/>
          <p:cNvSpPr txBox="1"/>
          <p:nvPr/>
        </p:nvSpPr>
        <p:spPr>
          <a:xfrm>
            <a:off x="641493" y="303245"/>
            <a:ext cx="355738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ЗАБЛУЖДЕНИЯ И ФАКТЫ </a:t>
            </a:r>
          </a:p>
          <a:p>
            <a:r>
              <a:rPr lang="ru-RU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МОБИЛЬНОЙ СВЯЗИ</a:t>
            </a:r>
            <a:endParaRPr lang="ru-RU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78034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gOgpyWf0ohAZAg0aX3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BLACK">
  <a:themeElements>
    <a:clrScheme name="Custom 4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ED1F23"/>
      </a:accent1>
      <a:accent2>
        <a:srgbClr val="FF6969"/>
      </a:accent2>
      <a:accent3>
        <a:srgbClr val="FF8993"/>
      </a:accent3>
      <a:accent4>
        <a:srgbClr val="FAA6AC"/>
      </a:accent4>
      <a:accent5>
        <a:srgbClr val="FFCBCD"/>
      </a:accent5>
      <a:accent6>
        <a:srgbClr val="FFDBE0"/>
      </a:accent6>
      <a:hlink>
        <a:srgbClr val="FEFFF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0_BLACK">
  <a:themeElements>
    <a:clrScheme name="Custom 4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ED1F23"/>
      </a:accent1>
      <a:accent2>
        <a:srgbClr val="FF6969"/>
      </a:accent2>
      <a:accent3>
        <a:srgbClr val="FF8993"/>
      </a:accent3>
      <a:accent4>
        <a:srgbClr val="FAA6AC"/>
      </a:accent4>
      <a:accent5>
        <a:srgbClr val="FFCBCD"/>
      </a:accent5>
      <a:accent6>
        <a:srgbClr val="FFDBE0"/>
      </a:accent6>
      <a:hlink>
        <a:srgbClr val="FEFFF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00</TotalTime>
  <Words>565</Words>
  <Application>Microsoft Office PowerPoint</Application>
  <PresentationFormat>Широкоэкранный</PresentationFormat>
  <Paragraphs>59</Paragraphs>
  <Slides>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7" baseType="lpstr">
      <vt:lpstr>Arial</vt:lpstr>
      <vt:lpstr>Calibri</vt:lpstr>
      <vt:lpstr>Helvetica Neue</vt:lpstr>
      <vt:lpstr>Helvetica Neue Medium</vt:lpstr>
      <vt:lpstr>MTS Sans</vt:lpstr>
      <vt:lpstr>Verdana</vt:lpstr>
      <vt:lpstr>Wingdings</vt:lpstr>
      <vt:lpstr>2_BLACK</vt:lpstr>
      <vt:lpstr>1_Office Theme</vt:lpstr>
      <vt:lpstr>10_BLACK</vt:lpstr>
      <vt:lpstr>Слайд think-cell</vt:lpstr>
      <vt:lpstr>Размещение  антенно-мачтовых сооружений связи на территории  Санкт-Петербурга</vt:lpstr>
      <vt:lpstr>Получение санитарно-эпидемиологического заключения на размещение базовой станции (Р1)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уравьев Дмитрий Олегович</dc:creator>
  <cp:lastModifiedBy>ПАО "МТС"</cp:lastModifiedBy>
  <cp:revision>127</cp:revision>
  <dcterms:created xsi:type="dcterms:W3CDTF">2021-12-16T13:58:40Z</dcterms:created>
  <dcterms:modified xsi:type="dcterms:W3CDTF">2022-03-11T12:36:34Z</dcterms:modified>
</cp:coreProperties>
</file>